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4"/>
  </p:notesMasterIdLst>
  <p:handoutMasterIdLst>
    <p:handoutMasterId r:id="rId15"/>
  </p:handoutMasterIdLst>
  <p:sldIdLst>
    <p:sldId id="1277" r:id="rId3"/>
    <p:sldId id="1293" r:id="rId4"/>
    <p:sldId id="1294" r:id="rId5"/>
    <p:sldId id="1296" r:id="rId6"/>
    <p:sldId id="1372" r:id="rId7"/>
    <p:sldId id="1371" r:id="rId8"/>
    <p:sldId id="1373" r:id="rId9"/>
    <p:sldId id="1343" r:id="rId10"/>
    <p:sldId id="1344" r:id="rId11"/>
    <p:sldId id="1345" r:id="rId12"/>
    <p:sldId id="1346" r:id="rId1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72"/>
            <p14:sldId id="1371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5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5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515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5. 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6394615"/>
              </p:ext>
            </p:extLst>
          </p:nvPr>
        </p:nvGraphicFramePr>
        <p:xfrm>
          <a:off x="350228" y="708347"/>
          <a:ext cx="11519385" cy="586334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40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7473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90080"/>
              </p:ext>
            </p:extLst>
          </p:nvPr>
        </p:nvGraphicFramePr>
        <p:xfrm>
          <a:off x="372867" y="838718"/>
          <a:ext cx="11435203" cy="4816202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čet C19 pacientů na standardních odděleních posledních 10 dnů osciluje nebo mírně klesá, narůstá počet pacientů na C19 JIP, včetně potřeby UPV. 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á; akutní problémy jednotlivých ZZ řešeny ve spolupráci s dispečinkem ZZS MSK a/anebo mezi nemocničními transporty v rámci kraje, při stávajících trendech a predikcích by situace měla být nadále řešitelná v </a:t>
                      </a:r>
                      <a:r>
                        <a:rPr lang="cs-CZ" sz="1300" b="0" i="0" kern="120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ámci kraje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15.12.2021 00:24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948</a:t>
            </a:r>
            <a:endParaRPr lang="cs-CZ" b="1" dirty="0" smtClean="0"/>
          </a:p>
          <a:p>
            <a:pPr algn="ctr"/>
            <a:endParaRPr lang="cs-CZ" sz="2000" b="1" dirty="0"/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7042105"/>
              </p:ext>
            </p:extLst>
          </p:nvPr>
        </p:nvGraphicFramePr>
        <p:xfrm>
          <a:off x="332818" y="1011115"/>
          <a:ext cx="8806726" cy="5328246"/>
        </p:xfrm>
        <a:graphic>
          <a:graphicData uri="http://schemas.openxmlformats.org/drawingml/2006/table">
            <a:tbl>
              <a:tblPr/>
              <a:tblGrid>
                <a:gridCol w="1869443">
                  <a:extLst>
                    <a:ext uri="{9D8B030D-6E8A-4147-A177-3AD203B41FA5}">
                      <a16:colId xmlns:a16="http://schemas.microsoft.com/office/drawing/2014/main" val="212842882"/>
                    </a:ext>
                  </a:extLst>
                </a:gridCol>
                <a:gridCol w="1144557">
                  <a:extLst>
                    <a:ext uri="{9D8B030D-6E8A-4147-A177-3AD203B41FA5}">
                      <a16:colId xmlns:a16="http://schemas.microsoft.com/office/drawing/2014/main" val="1425355532"/>
                    </a:ext>
                  </a:extLst>
                </a:gridCol>
                <a:gridCol w="1058715">
                  <a:extLst>
                    <a:ext uri="{9D8B030D-6E8A-4147-A177-3AD203B41FA5}">
                      <a16:colId xmlns:a16="http://schemas.microsoft.com/office/drawing/2014/main" val="173877320"/>
                    </a:ext>
                  </a:extLst>
                </a:gridCol>
                <a:gridCol w="1055536">
                  <a:extLst>
                    <a:ext uri="{9D8B030D-6E8A-4147-A177-3AD203B41FA5}">
                      <a16:colId xmlns:a16="http://schemas.microsoft.com/office/drawing/2014/main" val="1664714791"/>
                    </a:ext>
                  </a:extLst>
                </a:gridCol>
                <a:gridCol w="1093686">
                  <a:extLst>
                    <a:ext uri="{9D8B030D-6E8A-4147-A177-3AD203B41FA5}">
                      <a16:colId xmlns:a16="http://schemas.microsoft.com/office/drawing/2014/main" val="2169964028"/>
                    </a:ext>
                  </a:extLst>
                </a:gridCol>
                <a:gridCol w="1096866">
                  <a:extLst>
                    <a:ext uri="{9D8B030D-6E8A-4147-A177-3AD203B41FA5}">
                      <a16:colId xmlns:a16="http://schemas.microsoft.com/office/drawing/2014/main" val="4277945413"/>
                    </a:ext>
                  </a:extLst>
                </a:gridCol>
                <a:gridCol w="1487923">
                  <a:extLst>
                    <a:ext uri="{9D8B030D-6E8A-4147-A177-3AD203B41FA5}">
                      <a16:colId xmlns:a16="http://schemas.microsoft.com/office/drawing/2014/main" val="192951186"/>
                    </a:ext>
                  </a:extLst>
                </a:gridCol>
              </a:tblGrid>
              <a:tr h="220689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5.12. 2021, 11:30 h</a:t>
                      </a: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3909427"/>
                  </a:ext>
                </a:extLst>
              </a:tr>
              <a:tr h="18863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795794"/>
                  </a:ext>
                </a:extLst>
              </a:tr>
              <a:tr h="20492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5566031"/>
                  </a:ext>
                </a:extLst>
              </a:tr>
              <a:tr h="79606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9009300"/>
                  </a:ext>
                </a:extLst>
              </a:tr>
              <a:tr h="1970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0160637"/>
                  </a:ext>
                </a:extLst>
              </a:tr>
              <a:tr h="1970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4321836"/>
                  </a:ext>
                </a:extLst>
              </a:tr>
              <a:tr h="1970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7904384"/>
                  </a:ext>
                </a:extLst>
              </a:tr>
              <a:tr h="1970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6365286"/>
                  </a:ext>
                </a:extLst>
              </a:tr>
              <a:tr h="1970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6261713"/>
                  </a:ext>
                </a:extLst>
              </a:tr>
              <a:tr h="1970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0656465"/>
                  </a:ext>
                </a:extLst>
              </a:tr>
              <a:tr h="1970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2697770"/>
                  </a:ext>
                </a:extLst>
              </a:tr>
              <a:tr h="1970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116223"/>
                  </a:ext>
                </a:extLst>
              </a:tr>
              <a:tr h="1970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8623861"/>
                  </a:ext>
                </a:extLst>
              </a:tr>
              <a:tr h="1970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704034"/>
                  </a:ext>
                </a:extLst>
              </a:tr>
              <a:tr h="1970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0908321"/>
                  </a:ext>
                </a:extLst>
              </a:tr>
              <a:tr h="1970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7355406"/>
                  </a:ext>
                </a:extLst>
              </a:tr>
              <a:tr h="1970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949605"/>
                  </a:ext>
                </a:extLst>
              </a:tr>
              <a:tr h="21280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7742131"/>
                  </a:ext>
                </a:extLst>
              </a:tr>
              <a:tr h="2049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3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6</a:t>
                      </a: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6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6645" marR="6645" marT="6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8327335"/>
                  </a:ext>
                </a:extLst>
              </a:tr>
              <a:tr h="19704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8870664"/>
                  </a:ext>
                </a:extLst>
              </a:tr>
              <a:tr h="18863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5780233"/>
                  </a:ext>
                </a:extLst>
              </a:tr>
              <a:tr h="19704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5546780"/>
                  </a:ext>
                </a:extLst>
              </a:tr>
              <a:tr h="19704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5" marR="6645" marT="66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33219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0252132"/>
              </p:ext>
            </p:extLst>
          </p:nvPr>
        </p:nvGraphicFramePr>
        <p:xfrm>
          <a:off x="413236" y="1028697"/>
          <a:ext cx="8733763" cy="5327722"/>
        </p:xfrm>
        <a:graphic>
          <a:graphicData uri="http://schemas.openxmlformats.org/drawingml/2006/table">
            <a:tbl>
              <a:tblPr/>
              <a:tblGrid>
                <a:gridCol w="1853954">
                  <a:extLst>
                    <a:ext uri="{9D8B030D-6E8A-4147-A177-3AD203B41FA5}">
                      <a16:colId xmlns:a16="http://schemas.microsoft.com/office/drawing/2014/main" val="3534473207"/>
                    </a:ext>
                  </a:extLst>
                </a:gridCol>
                <a:gridCol w="1135073">
                  <a:extLst>
                    <a:ext uri="{9D8B030D-6E8A-4147-A177-3AD203B41FA5}">
                      <a16:colId xmlns:a16="http://schemas.microsoft.com/office/drawing/2014/main" val="1154796295"/>
                    </a:ext>
                  </a:extLst>
                </a:gridCol>
                <a:gridCol w="1049944">
                  <a:extLst>
                    <a:ext uri="{9D8B030D-6E8A-4147-A177-3AD203B41FA5}">
                      <a16:colId xmlns:a16="http://schemas.microsoft.com/office/drawing/2014/main" val="3436937979"/>
                    </a:ext>
                  </a:extLst>
                </a:gridCol>
                <a:gridCol w="1046791">
                  <a:extLst>
                    <a:ext uri="{9D8B030D-6E8A-4147-A177-3AD203B41FA5}">
                      <a16:colId xmlns:a16="http://schemas.microsoft.com/office/drawing/2014/main" val="3148715954"/>
                    </a:ext>
                  </a:extLst>
                </a:gridCol>
                <a:gridCol w="1084625">
                  <a:extLst>
                    <a:ext uri="{9D8B030D-6E8A-4147-A177-3AD203B41FA5}">
                      <a16:colId xmlns:a16="http://schemas.microsoft.com/office/drawing/2014/main" val="3156337212"/>
                    </a:ext>
                  </a:extLst>
                </a:gridCol>
                <a:gridCol w="1087779">
                  <a:extLst>
                    <a:ext uri="{9D8B030D-6E8A-4147-A177-3AD203B41FA5}">
                      <a16:colId xmlns:a16="http://schemas.microsoft.com/office/drawing/2014/main" val="907792769"/>
                    </a:ext>
                  </a:extLst>
                </a:gridCol>
                <a:gridCol w="1475597">
                  <a:extLst>
                    <a:ext uri="{9D8B030D-6E8A-4147-A177-3AD203B41FA5}">
                      <a16:colId xmlns:a16="http://schemas.microsoft.com/office/drawing/2014/main" val="2224025680"/>
                    </a:ext>
                  </a:extLst>
                </a:gridCol>
              </a:tblGrid>
              <a:tr h="220406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5.12. 2021, 11:30 h</a:t>
                      </a: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5958033"/>
                  </a:ext>
                </a:extLst>
              </a:tr>
              <a:tr h="18795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0341878"/>
                  </a:ext>
                </a:extLst>
              </a:tr>
              <a:tr h="20466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4206592"/>
                  </a:ext>
                </a:extLst>
              </a:tr>
              <a:tr h="79503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737527"/>
                  </a:ext>
                </a:extLst>
              </a:tr>
              <a:tr h="1967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8407842"/>
                  </a:ext>
                </a:extLst>
              </a:tr>
              <a:tr h="1967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0345987"/>
                  </a:ext>
                </a:extLst>
              </a:tr>
              <a:tr h="1967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6669474"/>
                  </a:ext>
                </a:extLst>
              </a:tr>
              <a:tr h="1967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905154"/>
                  </a:ext>
                </a:extLst>
              </a:tr>
              <a:tr h="1967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9748985"/>
                  </a:ext>
                </a:extLst>
              </a:tr>
              <a:tr h="1967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4818669"/>
                  </a:ext>
                </a:extLst>
              </a:tr>
              <a:tr h="1967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4567325"/>
                  </a:ext>
                </a:extLst>
              </a:tr>
              <a:tr h="1967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3617244"/>
                  </a:ext>
                </a:extLst>
              </a:tr>
              <a:tr h="1967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0012923"/>
                  </a:ext>
                </a:extLst>
              </a:tr>
              <a:tr h="1967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1150578"/>
                  </a:ext>
                </a:extLst>
              </a:tr>
              <a:tr h="1967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8672396"/>
                  </a:ext>
                </a:extLst>
              </a:tr>
              <a:tr h="1967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9049148"/>
                  </a:ext>
                </a:extLst>
              </a:tr>
              <a:tr h="1967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5979310"/>
                  </a:ext>
                </a:extLst>
              </a:tr>
              <a:tr h="2046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1980018"/>
                  </a:ext>
                </a:extLst>
              </a:tr>
              <a:tr h="2125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62" marR="6662" marT="66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6002200"/>
                  </a:ext>
                </a:extLst>
              </a:tr>
              <a:tr h="196791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1668216"/>
                  </a:ext>
                </a:extLst>
              </a:tr>
              <a:tr h="18795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6937614"/>
                  </a:ext>
                </a:extLst>
              </a:tr>
              <a:tr h="1879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2918442"/>
                  </a:ext>
                </a:extLst>
              </a:tr>
              <a:tr h="196791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62" marR="6662" marT="66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39431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15.12.2021 00:24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4</a:t>
            </a:r>
            <a:r>
              <a:rPr lang="cs-CZ" sz="2000" b="1" dirty="0"/>
              <a:t> </a:t>
            </a:r>
            <a:r>
              <a:rPr lang="cs-CZ" sz="2000" b="1" dirty="0" smtClean="0"/>
              <a:t>902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2767238"/>
              </p:ext>
            </p:extLst>
          </p:nvPr>
        </p:nvGraphicFramePr>
        <p:xfrm>
          <a:off x="332818" y="1032129"/>
          <a:ext cx="8651630" cy="5199182"/>
        </p:xfrm>
        <a:graphic>
          <a:graphicData uri="http://schemas.openxmlformats.org/drawingml/2006/table">
            <a:tbl>
              <a:tblPr/>
              <a:tblGrid>
                <a:gridCol w="1758436">
                  <a:extLst>
                    <a:ext uri="{9D8B030D-6E8A-4147-A177-3AD203B41FA5}">
                      <a16:colId xmlns:a16="http://schemas.microsoft.com/office/drawing/2014/main" val="715137935"/>
                    </a:ext>
                  </a:extLst>
                </a:gridCol>
                <a:gridCol w="1076595">
                  <a:extLst>
                    <a:ext uri="{9D8B030D-6E8A-4147-A177-3AD203B41FA5}">
                      <a16:colId xmlns:a16="http://schemas.microsoft.com/office/drawing/2014/main" val="1962270237"/>
                    </a:ext>
                  </a:extLst>
                </a:gridCol>
                <a:gridCol w="995849">
                  <a:extLst>
                    <a:ext uri="{9D8B030D-6E8A-4147-A177-3AD203B41FA5}">
                      <a16:colId xmlns:a16="http://schemas.microsoft.com/office/drawing/2014/main" val="1810061015"/>
                    </a:ext>
                  </a:extLst>
                </a:gridCol>
                <a:gridCol w="992859">
                  <a:extLst>
                    <a:ext uri="{9D8B030D-6E8A-4147-A177-3AD203B41FA5}">
                      <a16:colId xmlns:a16="http://schemas.microsoft.com/office/drawing/2014/main" val="847379515"/>
                    </a:ext>
                  </a:extLst>
                </a:gridCol>
                <a:gridCol w="1028747">
                  <a:extLst>
                    <a:ext uri="{9D8B030D-6E8A-4147-A177-3AD203B41FA5}">
                      <a16:colId xmlns:a16="http://schemas.microsoft.com/office/drawing/2014/main" val="1168419646"/>
                    </a:ext>
                  </a:extLst>
                </a:gridCol>
                <a:gridCol w="1399572">
                  <a:extLst>
                    <a:ext uri="{9D8B030D-6E8A-4147-A177-3AD203B41FA5}">
                      <a16:colId xmlns:a16="http://schemas.microsoft.com/office/drawing/2014/main" val="2498338402"/>
                    </a:ext>
                  </a:extLst>
                </a:gridCol>
                <a:gridCol w="1399572">
                  <a:extLst>
                    <a:ext uri="{9D8B030D-6E8A-4147-A177-3AD203B41FA5}">
                      <a16:colId xmlns:a16="http://schemas.microsoft.com/office/drawing/2014/main" val="3741587235"/>
                    </a:ext>
                  </a:extLst>
                </a:gridCol>
              </a:tblGrid>
              <a:tr h="228348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5.12. 2021, 11:30 h</a:t>
                      </a: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4677846"/>
                  </a:ext>
                </a:extLst>
              </a:tr>
              <a:tr h="19083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6503710"/>
                  </a:ext>
                </a:extLst>
              </a:tr>
              <a:tr h="22834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0499391"/>
                  </a:ext>
                </a:extLst>
              </a:tr>
              <a:tr h="61980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5023538"/>
                  </a:ext>
                </a:extLst>
              </a:tr>
              <a:tr h="2038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4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1420080"/>
                  </a:ext>
                </a:extLst>
              </a:tr>
              <a:tr h="2038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585218"/>
                  </a:ext>
                </a:extLst>
              </a:tr>
              <a:tr h="2038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6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3184588"/>
                  </a:ext>
                </a:extLst>
              </a:tr>
              <a:tr h="2038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6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4777476"/>
                  </a:ext>
                </a:extLst>
              </a:tr>
              <a:tr h="2038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9917823"/>
                  </a:ext>
                </a:extLst>
              </a:tr>
              <a:tr h="2038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7600452"/>
                  </a:ext>
                </a:extLst>
              </a:tr>
              <a:tr h="2038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0077843"/>
                  </a:ext>
                </a:extLst>
              </a:tr>
              <a:tr h="2038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9009038"/>
                  </a:ext>
                </a:extLst>
              </a:tr>
              <a:tr h="2038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5423113"/>
                  </a:ext>
                </a:extLst>
              </a:tr>
              <a:tr h="2038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9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524441"/>
                  </a:ext>
                </a:extLst>
              </a:tr>
              <a:tr h="2038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8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5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2031258"/>
                  </a:ext>
                </a:extLst>
              </a:tr>
              <a:tr h="2038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9919938"/>
                  </a:ext>
                </a:extLst>
              </a:tr>
              <a:tr h="2038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1793056"/>
                  </a:ext>
                </a:extLst>
              </a:tr>
              <a:tr h="2120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01504"/>
                  </a:ext>
                </a:extLst>
              </a:tr>
              <a:tr h="2201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48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50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3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3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6905" marR="6905" marT="69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6905" marR="6905" marT="69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73798"/>
                  </a:ext>
                </a:extLst>
              </a:tr>
              <a:tr h="203882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694911"/>
                  </a:ext>
                </a:extLst>
              </a:tr>
              <a:tr h="190834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4237834"/>
                  </a:ext>
                </a:extLst>
              </a:tr>
              <a:tr h="19083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6428678"/>
                  </a:ext>
                </a:extLst>
              </a:tr>
              <a:tr h="203882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5" marR="6905" marT="69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1132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.12.2021 11:0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a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157230"/>
              </p:ext>
            </p:extLst>
          </p:nvPr>
        </p:nvGraphicFramePr>
        <p:xfrm>
          <a:off x="1440866" y="2023571"/>
          <a:ext cx="5883126" cy="2771770"/>
        </p:xfrm>
        <a:graphic>
          <a:graphicData uri="http://schemas.openxmlformats.org/drawingml/2006/table">
            <a:tbl>
              <a:tblPr/>
              <a:tblGrid>
                <a:gridCol w="3671018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10806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601302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318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8.12.2021 13:2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2.2021 14:5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Šumperk a.s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12.2021 6:5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12.2021 16:2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MN, a.s., Nemocnice Jilemnice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12.2021 5:48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322689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kultní Thomayerova nemocnice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12.2021 7:4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532956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ladno,a.s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12.2021 8:5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71174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19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0316958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15.12.2021 0:24 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 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5 850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098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2,9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948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83 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,1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650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68,6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2 221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8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90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48 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6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499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1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653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0793404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15.12.202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3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,4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1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78521" y="3577107"/>
            <a:ext cx="105686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Za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14.12. bylo 382 nově přijatých pac. a 529 propuštěných.</a:t>
            </a:r>
            <a:endParaRPr lang="cs-CZ" dirty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KKIP – bez požadavků na mezikrajové překlady. Situace v krajích neměnná (omezený personál, zastavená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), ale dochází k mírnému zlepšení.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5871947" y="1750191"/>
            <a:ext cx="52548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/>
              <a:t>Hodnocení</a:t>
            </a:r>
            <a:r>
              <a:rPr lang="cs-CZ" b="1" u="sng" dirty="0" smtClean="0"/>
              <a:t>:</a:t>
            </a:r>
            <a:endParaRPr lang="cs-CZ" b="1" u="sng" dirty="0" smtClean="0"/>
          </a:p>
          <a:p>
            <a:pPr lvl="0"/>
            <a:r>
              <a:rPr lang="cs-CZ" dirty="0"/>
              <a:t>K</a:t>
            </a:r>
            <a:r>
              <a:rPr lang="cs-CZ" dirty="0" smtClean="0"/>
              <a:t>apacity JIP </a:t>
            </a:r>
            <a:r>
              <a:rPr lang="cs-CZ" dirty="0" smtClean="0"/>
              <a:t>v posledním týdnu oscilují kolem uvedených hodnot</a:t>
            </a:r>
            <a:r>
              <a:rPr lang="cs-CZ" dirty="0" smtClean="0"/>
              <a:t>. </a:t>
            </a:r>
            <a:r>
              <a:rPr lang="cs-CZ" dirty="0">
                <a:solidFill>
                  <a:prstClr val="black"/>
                </a:solidFill>
                <a:latin typeface="Segoe UI"/>
              </a:rPr>
              <a:t>Mírně klesá podíl C+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pac</a:t>
            </a:r>
            <a:r>
              <a:rPr lang="cs-CZ" dirty="0">
                <a:solidFill>
                  <a:prstClr val="black"/>
                </a:solidFill>
                <a:latin typeface="Segoe UI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276256"/>
              </p:ext>
            </p:extLst>
          </p:nvPr>
        </p:nvGraphicFramePr>
        <p:xfrm>
          <a:off x="332646" y="832094"/>
          <a:ext cx="11405086" cy="4846794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5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a 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mocnice na Bulovce hlásí kapacitní problémy na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prakticky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Onkologická aj. neodkladná operativa běží bez omez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na úrovni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tea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, maximalizovány kapacity standardní i intenzivní péče, menší rezerva lůžek zůstává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alší navýšení kapacit by ale již bylo velmi problematické. Krizovou situaci nelze nadále vyloučit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344950"/>
              </p:ext>
            </p:extLst>
          </p:nvPr>
        </p:nvGraphicFramePr>
        <p:xfrm>
          <a:off x="279292" y="841021"/>
          <a:ext cx="11587543" cy="5115316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1889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 jednání KŠ kraje: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 páteřních </a:t>
                      </a:r>
                      <a:r>
                        <a:rPr lang="cs-CZ" sz="1300" b="0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kraje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zdravotníků v LBK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stagnace počtu hospitalizovaných ve standardní péči. 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3074</TotalTime>
  <Words>1974</Words>
  <Application>Microsoft Office PowerPoint</Application>
  <PresentationFormat>Širokoúhlá obrazovka</PresentationFormat>
  <Paragraphs>560</Paragraphs>
  <Slides>11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8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 - aktualizace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726</cp:revision>
  <cp:lastPrinted>2020-10-20T04:21:56Z</cp:lastPrinted>
  <dcterms:created xsi:type="dcterms:W3CDTF">2020-07-15T10:33:32Z</dcterms:created>
  <dcterms:modified xsi:type="dcterms:W3CDTF">2021-12-15T10:14:46Z</dcterms:modified>
</cp:coreProperties>
</file>